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4.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21.xml" ContentType="application/vnd.openxmlformats-officedocument.presentationml.tags+xml"/>
  <Override PartName="/ppt/notesSlides/notesSlide1.xml" ContentType="application/vnd.openxmlformats-officedocument.presentationml.notesSlide+xml"/>
  <Override PartName="/ppt/tags/tag122.xml" ContentType="application/vnd.openxmlformats-officedocument.presentationml.tags+xml"/>
  <Override PartName="/ppt/notesSlides/notesSlide2.xml" ContentType="application/vnd.openxmlformats-officedocument.presentationml.notesSlide+xml"/>
  <Override PartName="/ppt/tags/tag12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7" r:id="rId2"/>
    <p:sldMasterId id="2147485257" r:id="rId3"/>
    <p:sldMasterId id="2147485327" r:id="rId4"/>
  </p:sldMasterIdLst>
  <p:notesMasterIdLst>
    <p:notesMasterId r:id="rId8"/>
  </p:notesMasterIdLst>
  <p:handoutMasterIdLst>
    <p:handoutMasterId r:id="rId9"/>
  </p:handoutMasterIdLst>
  <p:sldIdLst>
    <p:sldId id="2146847260" r:id="rId5"/>
    <p:sldId id="2146847267" r:id="rId6"/>
    <p:sldId id="2146847268" r:id="rId7"/>
  </p:sldIdLst>
  <p:sldSz cx="12192000" cy="6858000"/>
  <p:notesSz cx="6950075" cy="9236075"/>
  <p:custShowLst>
    <p:custShow name="Format Guide Workshop" id="0">
      <p:sldLst/>
    </p:custShow>
  </p:custShowLst>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id="{DEE280DE-E799-4753-9615-61FC5BA116BE}">
          <p14:sldIdLst>
            <p14:sldId id="2146847260"/>
            <p14:sldId id="2146847267"/>
            <p14:sldId id="2146847268"/>
          </p14:sldIdLst>
        </p14:section>
      </p14:sectionLst>
    </p:ex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6B6A"/>
    <a:srgbClr val="818787"/>
    <a:srgbClr val="676067"/>
    <a:srgbClr val="AA8A90"/>
    <a:srgbClr val="9D9A9C"/>
    <a:srgbClr val="292929"/>
    <a:srgbClr val="575757"/>
    <a:srgbClr val="6E6F73"/>
    <a:srgbClr val="9A9A9A"/>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232" autoAdjust="0"/>
    <p:restoredTop sz="93741" autoAdjust="0"/>
  </p:normalViewPr>
  <p:slideViewPr>
    <p:cSldViewPr snapToGrid="0">
      <p:cViewPr varScale="1">
        <p:scale>
          <a:sx n="64" d="100"/>
          <a:sy n="64" d="100"/>
        </p:scale>
        <p:origin x="32" y="40"/>
      </p:cViewPr>
      <p:guideLst>
        <p:guide orient="horz" pos="2160"/>
        <p:guide pos="3816"/>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7/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7/2025</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784814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559570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7946780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8.xml"/><Relationship Id="rId7" Type="http://schemas.openxmlformats.org/officeDocument/2006/relationships/image" Target="../media/image2.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49.xml"/><Relationship Id="rId9" Type="http://schemas.openxmlformats.org/officeDocument/2006/relationships/image" Target="../media/image4.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4.jp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4.jp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6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4.jp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73.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74.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79.xml"/><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8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8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84.xml"/><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85.xml"/><Relationship Id="rId4" Type="http://schemas.openxmlformats.org/officeDocument/2006/relationships/image" Target="../media/image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8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87.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88.xml"/><Relationship Id="rId4" Type="http://schemas.openxmlformats.org/officeDocument/2006/relationships/image" Target="../media/image12.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8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93.xml"/><Relationship Id="rId7" Type="http://schemas.openxmlformats.org/officeDocument/2006/relationships/image" Target="../media/image3.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6.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4.jp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3.xml"/><Relationship Id="rId7" Type="http://schemas.openxmlformats.org/officeDocument/2006/relationships/image" Target="../media/image2.emf"/><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oleObject" Target="../embeddings/oleObject6.bin"/><Relationship Id="rId5" Type="http://schemas.openxmlformats.org/officeDocument/2006/relationships/slideMaster" Target="../slideMasters/slideMaster4.xml"/><Relationship Id="rId4" Type="http://schemas.openxmlformats.org/officeDocument/2006/relationships/tags" Target="../tags/tag104.xml"/><Relationship Id="rId9" Type="http://schemas.openxmlformats.org/officeDocument/2006/relationships/image" Target="../media/image4.jp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5.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06.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4.jp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1.emf"/></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1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7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17.xml"/><Relationship Id="rId4" Type="http://schemas.openxmlformats.org/officeDocument/2006/relationships/image" Target="../media/image1.emf"/></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18.xml"/><Relationship Id="rId4" Type="http://schemas.openxmlformats.org/officeDocument/2006/relationships/image" Target="../media/image1.emf"/></Relationships>
</file>

<file path=ppt/slideLayouts/_rels/slideLayout27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1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20.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jp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4.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4.jp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38.xml"/><Relationship Id="rId7" Type="http://schemas.openxmlformats.org/officeDocument/2006/relationships/image" Target="../media/image3.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4.jp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9457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285865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76286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888923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35231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08253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85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1151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92320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783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6462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924440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733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770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4121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6533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05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44614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339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2736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8545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09026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337198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35561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6922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09337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2425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7587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7723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878297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753816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8852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293466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94201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968658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76632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44912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24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610656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451591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70200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7460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5969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83012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155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99162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719026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3241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45127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9281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278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53616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06176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5513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22156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5114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9811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9055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847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1371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6225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77716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285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02783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12685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822496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63677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5411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37815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98817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1921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6" name="Group 15"/>
          <p:cNvGrpSpPr>
            <a:grpSpLocks noChangeAspect="1"/>
          </p:cNvGrpSpPr>
          <p:nvPr userDrawn="1"/>
        </p:nvGrpSpPr>
        <p:grpSpPr>
          <a:xfrm>
            <a:off x="2658996" y="2958991"/>
            <a:ext cx="4069080" cy="864017"/>
            <a:chOff x="1129804" y="1125068"/>
            <a:chExt cx="2344427" cy="497809"/>
          </a:xfrm>
        </p:grpSpPr>
        <p:sp>
          <p:nvSpPr>
            <p:cNvPr id="19"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0759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06869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6739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39586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52762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590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9493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642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28667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2178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0868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8139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7356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4430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601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92348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84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83918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0217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0915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544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65271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50509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74880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429384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81229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234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28166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17286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459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0" name="Group 9"/>
          <p:cNvGrpSpPr>
            <a:grpSpLocks noChangeAspect="1"/>
          </p:cNvGrpSpPr>
          <p:nvPr userDrawn="1"/>
        </p:nvGrpSpPr>
        <p:grpSpPr>
          <a:xfrm>
            <a:off x="2658996" y="2958991"/>
            <a:ext cx="4069080" cy="864017"/>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8042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37440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3402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277795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3928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47085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648514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880539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078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116751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207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4" hasCustomPrompt="1"/>
          </p:nvPr>
        </p:nvSpPr>
        <p:spPr>
          <a:xfrm>
            <a:off x="633414" y="2084386"/>
            <a:ext cx="10931525" cy="1244956"/>
          </a:xfrm>
        </p:spPr>
        <p:txBody>
          <a:bodyPr>
            <a:spAutoFit/>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a:xfrm>
            <a:off x="9677401" y="6312705"/>
            <a:ext cx="1482051" cy="246219"/>
          </a:xfrm>
          <a:prstGeom prst="rect">
            <a:avLst/>
          </a:prstGeom>
        </p:spPr>
        <p:txBody>
          <a:bodyPr lIns="91438" tIns="45719" rIns="91438" bIns="45719"/>
          <a:lstStyle/>
          <a:p>
            <a:endParaRPr lang="en-US" dirty="0"/>
          </a:p>
        </p:txBody>
      </p:sp>
      <p:sp>
        <p:nvSpPr>
          <p:cNvPr id="4" name="Footer Placeholder 3"/>
          <p:cNvSpPr>
            <a:spLocks noGrp="1"/>
          </p:cNvSpPr>
          <p:nvPr>
            <p:ph type="ftr" sz="quarter" idx="16"/>
          </p:nvPr>
        </p:nvSpPr>
        <p:spPr>
          <a:xfrm rot="16200000">
            <a:off x="10558564" y="5107293"/>
            <a:ext cx="2743200" cy="107723"/>
          </a:xfrm>
          <a:prstGeom prst="rect">
            <a:avLst/>
          </a:prstGeom>
        </p:spPr>
        <p:txBody>
          <a:bodyPr lIns="91438" tIns="45719" rIns="91438" bIns="45719"/>
          <a:lstStyle/>
          <a:p>
            <a:endParaRPr lang="en-US" dirty="0"/>
          </a:p>
        </p:txBody>
      </p:sp>
    </p:spTree>
    <p:extLst>
      <p:ext uri="{BB962C8B-B14F-4D97-AF65-F5344CB8AC3E}">
        <p14:creationId xmlns:p14="http://schemas.microsoft.com/office/powerpoint/2010/main" val="2389804449"/>
      </p:ext>
    </p:extLst>
  </p:cSld>
  <p:clrMapOvr>
    <a:masterClrMapping/>
  </p:clrMapOvr>
  <p:transition spd="med">
    <p:fade/>
  </p:transition>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dirty="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114803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8978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a16="http://schemas.microsoft.com/office/drawing/2014/main" id="{A0564CDC-BE77-4F81-96C2-D044FD60559E}"/>
              </a:ext>
            </a:extLst>
          </p:cNvPr>
          <p:cNvPicPr>
            <a:picLocks noChangeAspect="1"/>
          </p:cNvPicPr>
          <p:nvPr userDrawn="1"/>
        </p:nvPicPr>
        <p:blipFill rotWithShape="1">
          <a:blip r:embed="rId8"/>
          <a:srcRect t="17772" b="17772"/>
          <a:stretch/>
        </p:blipFill>
        <p:spPr>
          <a:xfrm flipH="1">
            <a:off x="0" y="0"/>
            <a:ext cx="12192000" cy="523242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815472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0918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77414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21137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462374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903492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1313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498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11935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60135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92095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61698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1645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75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46132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25746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318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9001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3394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22214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443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5577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85010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41877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41326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02732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76308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932248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281222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65961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39720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159531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4167107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3698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481721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6416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397620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69774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782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123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8173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27342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60634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418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05343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80965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9454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015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29214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280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09304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775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396750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972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8898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91892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25418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0142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767366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15554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4837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8504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942876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531703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87742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348764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971878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90181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18757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18861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7418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0076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409346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359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05615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064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3908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137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5</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503269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6602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AA5B3B33-0D9D-4D2C-9C8E-4F63FA97697D}"/>
              </a:ext>
            </a:extLst>
          </p:cNvPr>
          <p:cNvPicPr>
            <a:picLocks noChangeAspect="1"/>
          </p:cNvPicPr>
          <p:nvPr userDrawn="1"/>
        </p:nvPicPr>
        <p:blipFill rotWithShape="1">
          <a:blip r:embed="rId6"/>
          <a:srcRect t="7806" b="7806"/>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2"/>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473632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Blank dark gra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dirty="0">
              <a:solidFill>
                <a:prstClr val="white"/>
              </a:solidFill>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954576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Arial"/>
                <a:cs typeface="Arial"/>
              </a:defRPr>
            </a:lvl1pPr>
          </a:lstStyle>
          <a:p>
            <a:endParaRPr/>
          </a:p>
        </p:txBody>
      </p:sp>
      <p:sp>
        <p:nvSpPr>
          <p:cNvPr id="3" name="Holder 3"/>
          <p:cNvSpPr>
            <a:spLocks noGrp="1"/>
          </p:cNvSpPr>
          <p:nvPr>
            <p:ph sz="half" idx="2"/>
          </p:nvPr>
        </p:nvSpPr>
        <p:spPr>
          <a:xfrm>
            <a:off x="609600" y="1577340"/>
            <a:ext cx="5303520" cy="1876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1876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5</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959080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0401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a16="http://schemas.microsoft.com/office/drawing/2014/main" id="{A0564CDC-BE77-4F81-96C2-D044FD60559E}"/>
              </a:ext>
            </a:extLst>
          </p:cNvPr>
          <p:cNvPicPr>
            <a:picLocks noChangeAspect="1"/>
          </p:cNvPicPr>
          <p:nvPr userDrawn="1"/>
        </p:nvPicPr>
        <p:blipFill rotWithShape="1">
          <a:blip r:embed="rId8"/>
          <a:srcRect t="17772" b="17772"/>
          <a:stretch/>
        </p:blipFill>
        <p:spPr>
          <a:xfrm flipH="1">
            <a:off x="0" y="0"/>
            <a:ext cx="12192000" cy="523242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829222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8094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45633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276258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4248689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508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80299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648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1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45204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3564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457722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28328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782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04777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8854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3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25310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445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37237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043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639154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0888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33406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2266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98211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440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27470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943796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384069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43486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435953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920749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6.xml"/><Relationship Id="rId21" Type="http://schemas.openxmlformats.org/officeDocument/2006/relationships/slideLayout" Target="../slideLayouts/slideLayout91.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7" Type="http://schemas.openxmlformats.org/officeDocument/2006/relationships/slideLayout" Target="../slideLayouts/slideLayout77.xml"/><Relationship Id="rId71" Type="http://schemas.openxmlformats.org/officeDocument/2006/relationships/oleObject" Target="../embeddings/oleObject1.bin"/><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66" Type="http://schemas.openxmlformats.org/officeDocument/2006/relationships/slideLayout" Target="../slideLayouts/slideLayout136.xml"/><Relationship Id="rId5" Type="http://schemas.openxmlformats.org/officeDocument/2006/relationships/slideLayout" Target="../slideLayouts/slideLayout75.xml"/><Relationship Id="rId61" Type="http://schemas.openxmlformats.org/officeDocument/2006/relationships/slideLayout" Target="../slideLayouts/slideLayout131.xml"/><Relationship Id="rId19" Type="http://schemas.openxmlformats.org/officeDocument/2006/relationships/slideLayout" Target="../slideLayouts/slideLayout8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64" Type="http://schemas.openxmlformats.org/officeDocument/2006/relationships/slideLayout" Target="../slideLayouts/slideLayout134.xml"/><Relationship Id="rId69" Type="http://schemas.openxmlformats.org/officeDocument/2006/relationships/theme" Target="../theme/theme2.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image" Target="../media/image1.emf"/><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slideLayout" Target="../slideLayouts/slideLayout129.xml"/><Relationship Id="rId67" Type="http://schemas.openxmlformats.org/officeDocument/2006/relationships/slideLayout" Target="../slideLayouts/slideLayout137.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62" Type="http://schemas.openxmlformats.org/officeDocument/2006/relationships/slideLayout" Target="../slideLayouts/slideLayout132.xml"/><Relationship Id="rId70" Type="http://schemas.openxmlformats.org/officeDocument/2006/relationships/tags" Target="../tags/tag35.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10" Type="http://schemas.openxmlformats.org/officeDocument/2006/relationships/slideLayout" Target="../slideLayouts/slideLayout80.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9" Type="http://schemas.openxmlformats.org/officeDocument/2006/relationships/slideLayout" Target="../slideLayouts/slideLayout109.xml"/><Relationship Id="rId34" Type="http://schemas.openxmlformats.org/officeDocument/2006/relationships/slideLayout" Target="../slideLayouts/slideLayout104.xml"/><Relationship Id="rId50" Type="http://schemas.openxmlformats.org/officeDocument/2006/relationships/slideLayout" Target="../slideLayouts/slideLayout120.xml"/><Relationship Id="rId55" Type="http://schemas.openxmlformats.org/officeDocument/2006/relationships/slideLayout" Target="../slideLayouts/slideLayout12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4.xml"/><Relationship Id="rId21" Type="http://schemas.openxmlformats.org/officeDocument/2006/relationships/slideLayout" Target="../slideLayouts/slideLayout159.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63" Type="http://schemas.openxmlformats.org/officeDocument/2006/relationships/slideLayout" Target="../slideLayouts/slideLayout201.xml"/><Relationship Id="rId68" Type="http://schemas.openxmlformats.org/officeDocument/2006/relationships/slideLayout" Target="../slideLayouts/slideLayout20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8" Type="http://schemas.openxmlformats.org/officeDocument/2006/relationships/slideLayout" Target="../slideLayouts/slideLayout196.xml"/><Relationship Id="rId66" Type="http://schemas.openxmlformats.org/officeDocument/2006/relationships/slideLayout" Target="../slideLayouts/slideLayout204.xml"/><Relationship Id="rId5" Type="http://schemas.openxmlformats.org/officeDocument/2006/relationships/slideLayout" Target="../slideLayouts/slideLayout143.xml"/><Relationship Id="rId61" Type="http://schemas.openxmlformats.org/officeDocument/2006/relationships/slideLayout" Target="../slideLayouts/slideLayout199.xml"/><Relationship Id="rId19" Type="http://schemas.openxmlformats.org/officeDocument/2006/relationships/slideLayout" Target="../slideLayouts/slideLayout15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56" Type="http://schemas.openxmlformats.org/officeDocument/2006/relationships/slideLayout" Target="../slideLayouts/slideLayout194.xml"/><Relationship Id="rId64" Type="http://schemas.openxmlformats.org/officeDocument/2006/relationships/slideLayout" Target="../slideLayouts/slideLayout202.xml"/><Relationship Id="rId69" Type="http://schemas.openxmlformats.org/officeDocument/2006/relationships/slideLayout" Target="../slideLayouts/slideLayout207.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72" Type="http://schemas.openxmlformats.org/officeDocument/2006/relationships/oleObject" Target="../embeddings/oleObject1.bin"/><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59" Type="http://schemas.openxmlformats.org/officeDocument/2006/relationships/slideLayout" Target="../slideLayouts/slideLayout197.xml"/><Relationship Id="rId67" Type="http://schemas.openxmlformats.org/officeDocument/2006/relationships/slideLayout" Target="../slideLayouts/slideLayout205.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62" Type="http://schemas.openxmlformats.org/officeDocument/2006/relationships/slideLayout" Target="../slideLayouts/slideLayout200.xml"/><Relationship Id="rId70" Type="http://schemas.openxmlformats.org/officeDocument/2006/relationships/theme" Target="../theme/theme3.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57" Type="http://schemas.openxmlformats.org/officeDocument/2006/relationships/slideLayout" Target="../slideLayouts/slideLayout195.xml"/><Relationship Id="rId10" Type="http://schemas.openxmlformats.org/officeDocument/2006/relationships/slideLayout" Target="../slideLayouts/slideLayout148.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60" Type="http://schemas.openxmlformats.org/officeDocument/2006/relationships/slideLayout" Target="../slideLayouts/slideLayout198.xml"/><Relationship Id="rId65" Type="http://schemas.openxmlformats.org/officeDocument/2006/relationships/slideLayout" Target="../slideLayouts/slideLayout203.xml"/><Relationship Id="rId73" Type="http://schemas.openxmlformats.org/officeDocument/2006/relationships/image" Target="../media/image1.emf"/><Relationship Id="rId4" Type="http://schemas.openxmlformats.org/officeDocument/2006/relationships/slideLayout" Target="../slideLayouts/slideLayout142.xml"/><Relationship Id="rId9" Type="http://schemas.openxmlformats.org/officeDocument/2006/relationships/slideLayout" Target="../slideLayouts/slideLayout147.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9" Type="http://schemas.openxmlformats.org/officeDocument/2006/relationships/slideLayout" Target="../slideLayouts/slideLayout177.xml"/><Relationship Id="rId34" Type="http://schemas.openxmlformats.org/officeDocument/2006/relationships/slideLayout" Target="../slideLayouts/slideLayout172.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7" Type="http://schemas.openxmlformats.org/officeDocument/2006/relationships/slideLayout" Target="../slideLayouts/slideLayout145.xml"/><Relationship Id="rId71" Type="http://schemas.openxmlformats.org/officeDocument/2006/relationships/tags" Target="../tags/tag6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33.xml"/><Relationship Id="rId21" Type="http://schemas.openxmlformats.org/officeDocument/2006/relationships/slideLayout" Target="../slideLayouts/slideLayout228.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63" Type="http://schemas.openxmlformats.org/officeDocument/2006/relationships/slideLayout" Target="../slideLayouts/slideLayout270.xml"/><Relationship Id="rId68" Type="http://schemas.openxmlformats.org/officeDocument/2006/relationships/slideLayout" Target="../slideLayouts/slideLayout275.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53" Type="http://schemas.openxmlformats.org/officeDocument/2006/relationships/slideLayout" Target="../slideLayouts/slideLayout260.xml"/><Relationship Id="rId58" Type="http://schemas.openxmlformats.org/officeDocument/2006/relationships/slideLayout" Target="../slideLayouts/slideLayout265.xml"/><Relationship Id="rId66" Type="http://schemas.openxmlformats.org/officeDocument/2006/relationships/slideLayout" Target="../slideLayouts/slideLayout273.xml"/><Relationship Id="rId5" Type="http://schemas.openxmlformats.org/officeDocument/2006/relationships/slideLayout" Target="../slideLayouts/slideLayout212.xml"/><Relationship Id="rId61" Type="http://schemas.openxmlformats.org/officeDocument/2006/relationships/slideLayout" Target="../slideLayouts/slideLayout268.xml"/><Relationship Id="rId19" Type="http://schemas.openxmlformats.org/officeDocument/2006/relationships/slideLayout" Target="../slideLayouts/slideLayout22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56" Type="http://schemas.openxmlformats.org/officeDocument/2006/relationships/slideLayout" Target="../slideLayouts/slideLayout263.xml"/><Relationship Id="rId64" Type="http://schemas.openxmlformats.org/officeDocument/2006/relationships/slideLayout" Target="../slideLayouts/slideLayout271.xml"/><Relationship Id="rId69" Type="http://schemas.openxmlformats.org/officeDocument/2006/relationships/slideLayout" Target="../slideLayouts/slideLayout276.xml"/><Relationship Id="rId8" Type="http://schemas.openxmlformats.org/officeDocument/2006/relationships/slideLayout" Target="../slideLayouts/slideLayout215.xml"/><Relationship Id="rId51" Type="http://schemas.openxmlformats.org/officeDocument/2006/relationships/slideLayout" Target="../slideLayouts/slideLayout258.xml"/><Relationship Id="rId72" Type="http://schemas.openxmlformats.org/officeDocument/2006/relationships/oleObject" Target="../embeddings/oleObject1.bin"/><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59" Type="http://schemas.openxmlformats.org/officeDocument/2006/relationships/slideLayout" Target="../slideLayouts/slideLayout266.xml"/><Relationship Id="rId67" Type="http://schemas.openxmlformats.org/officeDocument/2006/relationships/slideLayout" Target="../slideLayouts/slideLayout274.xml"/><Relationship Id="rId20" Type="http://schemas.openxmlformats.org/officeDocument/2006/relationships/slideLayout" Target="../slideLayouts/slideLayout227.xml"/><Relationship Id="rId41" Type="http://schemas.openxmlformats.org/officeDocument/2006/relationships/slideLayout" Target="../slideLayouts/slideLayout248.xml"/><Relationship Id="rId54" Type="http://schemas.openxmlformats.org/officeDocument/2006/relationships/slideLayout" Target="../slideLayouts/slideLayout261.xml"/><Relationship Id="rId62" Type="http://schemas.openxmlformats.org/officeDocument/2006/relationships/slideLayout" Target="../slideLayouts/slideLayout269.xml"/><Relationship Id="rId70" Type="http://schemas.openxmlformats.org/officeDocument/2006/relationships/theme" Target="../theme/theme4.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57" Type="http://schemas.openxmlformats.org/officeDocument/2006/relationships/slideLayout" Target="../slideLayouts/slideLayout264.xml"/><Relationship Id="rId10" Type="http://schemas.openxmlformats.org/officeDocument/2006/relationships/slideLayout" Target="../slideLayouts/slideLayout217.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52" Type="http://schemas.openxmlformats.org/officeDocument/2006/relationships/slideLayout" Target="../slideLayouts/slideLayout259.xml"/><Relationship Id="rId60" Type="http://schemas.openxmlformats.org/officeDocument/2006/relationships/slideLayout" Target="../slideLayouts/slideLayout267.xml"/><Relationship Id="rId65" Type="http://schemas.openxmlformats.org/officeDocument/2006/relationships/slideLayout" Target="../slideLayouts/slideLayout272.xml"/><Relationship Id="rId73" Type="http://schemas.openxmlformats.org/officeDocument/2006/relationships/image" Target="../media/image1.emf"/><Relationship Id="rId4" Type="http://schemas.openxmlformats.org/officeDocument/2006/relationships/slideLayout" Target="../slideLayouts/slideLayout211.xml"/><Relationship Id="rId9" Type="http://schemas.openxmlformats.org/officeDocument/2006/relationships/slideLayout" Target="../slideLayouts/slideLayout216.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9" Type="http://schemas.openxmlformats.org/officeDocument/2006/relationships/slideLayout" Target="../slideLayouts/slideLayout246.xml"/><Relationship Id="rId34" Type="http://schemas.openxmlformats.org/officeDocument/2006/relationships/slideLayout" Target="../slideLayouts/slideLayout241.xml"/><Relationship Id="rId50" Type="http://schemas.openxmlformats.org/officeDocument/2006/relationships/slideLayout" Target="../slideLayouts/slideLayout257.xml"/><Relationship Id="rId55" Type="http://schemas.openxmlformats.org/officeDocument/2006/relationships/slideLayout" Target="../slideLayouts/slideLayout262.xml"/><Relationship Id="rId7" Type="http://schemas.openxmlformats.org/officeDocument/2006/relationships/slideLayout" Target="../slideLayouts/slideLayout214.xml"/><Relationship Id="rId71" Type="http://schemas.openxmlformats.org/officeDocument/2006/relationships/tags" Target="../tags/tag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0" name=""/>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25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6" r:id="rId69"/>
    <p:sldLayoutId id="2147485398"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3038978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823569816"/>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 id="2147485195" r:id="rId8"/>
    <p:sldLayoutId id="2147485196" r:id="rId9"/>
    <p:sldLayoutId id="2147485197" r:id="rId10"/>
    <p:sldLayoutId id="2147485198" r:id="rId11"/>
    <p:sldLayoutId id="2147485199" r:id="rId12"/>
    <p:sldLayoutId id="2147485200" r:id="rId13"/>
    <p:sldLayoutId id="2147485201" r:id="rId14"/>
    <p:sldLayoutId id="2147485202" r:id="rId15"/>
    <p:sldLayoutId id="2147485203" r:id="rId16"/>
    <p:sldLayoutId id="2147485204" r:id="rId17"/>
    <p:sldLayoutId id="2147485205" r:id="rId18"/>
    <p:sldLayoutId id="2147485206" r:id="rId19"/>
    <p:sldLayoutId id="2147485207" r:id="rId20"/>
    <p:sldLayoutId id="2147485208" r:id="rId21"/>
    <p:sldLayoutId id="2147485209" r:id="rId22"/>
    <p:sldLayoutId id="2147485210" r:id="rId23"/>
    <p:sldLayoutId id="2147485211" r:id="rId24"/>
    <p:sldLayoutId id="2147485212" r:id="rId25"/>
    <p:sldLayoutId id="2147485213" r:id="rId26"/>
    <p:sldLayoutId id="2147485214" r:id="rId27"/>
    <p:sldLayoutId id="2147485215" r:id="rId28"/>
    <p:sldLayoutId id="2147485216" r:id="rId29"/>
    <p:sldLayoutId id="2147485217" r:id="rId30"/>
    <p:sldLayoutId id="2147485218" r:id="rId31"/>
    <p:sldLayoutId id="2147485219" r:id="rId32"/>
    <p:sldLayoutId id="2147485220" r:id="rId33"/>
    <p:sldLayoutId id="2147485221" r:id="rId34"/>
    <p:sldLayoutId id="2147485222" r:id="rId35"/>
    <p:sldLayoutId id="2147485223" r:id="rId36"/>
    <p:sldLayoutId id="2147485224" r:id="rId37"/>
    <p:sldLayoutId id="2147485225" r:id="rId38"/>
    <p:sldLayoutId id="2147485226" r:id="rId39"/>
    <p:sldLayoutId id="2147485227" r:id="rId40"/>
    <p:sldLayoutId id="2147485228" r:id="rId41"/>
    <p:sldLayoutId id="2147485229" r:id="rId42"/>
    <p:sldLayoutId id="2147485230" r:id="rId43"/>
    <p:sldLayoutId id="2147485231" r:id="rId44"/>
    <p:sldLayoutId id="2147485232" r:id="rId45"/>
    <p:sldLayoutId id="2147485233" r:id="rId46"/>
    <p:sldLayoutId id="2147485234" r:id="rId47"/>
    <p:sldLayoutId id="2147485235" r:id="rId48"/>
    <p:sldLayoutId id="2147485236" r:id="rId49"/>
    <p:sldLayoutId id="2147485237" r:id="rId50"/>
    <p:sldLayoutId id="2147485238" r:id="rId51"/>
    <p:sldLayoutId id="2147485239" r:id="rId52"/>
    <p:sldLayoutId id="2147485240" r:id="rId53"/>
    <p:sldLayoutId id="2147485241" r:id="rId54"/>
    <p:sldLayoutId id="2147485242" r:id="rId55"/>
    <p:sldLayoutId id="2147485243" r:id="rId56"/>
    <p:sldLayoutId id="2147485244" r:id="rId57"/>
    <p:sldLayoutId id="2147485245" r:id="rId58"/>
    <p:sldLayoutId id="2147485246" r:id="rId59"/>
    <p:sldLayoutId id="2147485247" r:id="rId60"/>
    <p:sldLayoutId id="2147485248" r:id="rId61"/>
    <p:sldLayoutId id="2147485249" r:id="rId62"/>
    <p:sldLayoutId id="2147485250" r:id="rId63"/>
    <p:sldLayoutId id="2147485251" r:id="rId64"/>
    <p:sldLayoutId id="2147485252" r:id="rId65"/>
    <p:sldLayoutId id="2147485253" r:id="rId66"/>
    <p:sldLayoutId id="2147485254" r:id="rId67"/>
    <p:sldLayoutId id="214748525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601281631"/>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 id="2147485270" r:id="rId13"/>
    <p:sldLayoutId id="2147485271" r:id="rId14"/>
    <p:sldLayoutId id="2147485272" r:id="rId15"/>
    <p:sldLayoutId id="2147485273" r:id="rId16"/>
    <p:sldLayoutId id="2147485274" r:id="rId17"/>
    <p:sldLayoutId id="2147485275" r:id="rId18"/>
    <p:sldLayoutId id="2147485276" r:id="rId19"/>
    <p:sldLayoutId id="2147485277" r:id="rId20"/>
    <p:sldLayoutId id="2147485278" r:id="rId21"/>
    <p:sldLayoutId id="2147485279" r:id="rId22"/>
    <p:sldLayoutId id="2147485280" r:id="rId23"/>
    <p:sldLayoutId id="2147485281" r:id="rId24"/>
    <p:sldLayoutId id="2147485282" r:id="rId25"/>
    <p:sldLayoutId id="2147485283" r:id="rId26"/>
    <p:sldLayoutId id="2147485284" r:id="rId27"/>
    <p:sldLayoutId id="2147485285" r:id="rId28"/>
    <p:sldLayoutId id="2147485286" r:id="rId29"/>
    <p:sldLayoutId id="2147485287" r:id="rId30"/>
    <p:sldLayoutId id="2147485288" r:id="rId31"/>
    <p:sldLayoutId id="2147485289" r:id="rId32"/>
    <p:sldLayoutId id="2147485290" r:id="rId33"/>
    <p:sldLayoutId id="2147485291" r:id="rId34"/>
    <p:sldLayoutId id="2147485292" r:id="rId35"/>
    <p:sldLayoutId id="2147485293" r:id="rId36"/>
    <p:sldLayoutId id="2147485294" r:id="rId37"/>
    <p:sldLayoutId id="2147485295" r:id="rId38"/>
    <p:sldLayoutId id="2147485296" r:id="rId39"/>
    <p:sldLayoutId id="2147485297" r:id="rId40"/>
    <p:sldLayoutId id="2147485298" r:id="rId41"/>
    <p:sldLayoutId id="2147485299" r:id="rId42"/>
    <p:sldLayoutId id="2147485300" r:id="rId43"/>
    <p:sldLayoutId id="2147485301" r:id="rId44"/>
    <p:sldLayoutId id="2147485302" r:id="rId45"/>
    <p:sldLayoutId id="2147485303" r:id="rId46"/>
    <p:sldLayoutId id="2147485304" r:id="rId47"/>
    <p:sldLayoutId id="2147485305" r:id="rId48"/>
    <p:sldLayoutId id="2147485306" r:id="rId49"/>
    <p:sldLayoutId id="2147485307" r:id="rId50"/>
    <p:sldLayoutId id="2147485308" r:id="rId51"/>
    <p:sldLayoutId id="2147485309" r:id="rId52"/>
    <p:sldLayoutId id="2147485310" r:id="rId53"/>
    <p:sldLayoutId id="2147485311" r:id="rId54"/>
    <p:sldLayoutId id="2147485312" r:id="rId55"/>
    <p:sldLayoutId id="2147485313" r:id="rId56"/>
    <p:sldLayoutId id="2147485314" r:id="rId57"/>
    <p:sldLayoutId id="2147485315" r:id="rId58"/>
    <p:sldLayoutId id="2147485316" r:id="rId59"/>
    <p:sldLayoutId id="2147485317" r:id="rId60"/>
    <p:sldLayoutId id="2147485318" r:id="rId61"/>
    <p:sldLayoutId id="2147485319" r:id="rId62"/>
    <p:sldLayoutId id="2147485320" r:id="rId63"/>
    <p:sldLayoutId id="2147485321" r:id="rId64"/>
    <p:sldLayoutId id="2147485322" r:id="rId65"/>
    <p:sldLayoutId id="2147485323" r:id="rId66"/>
    <p:sldLayoutId id="2147485324" r:id="rId67"/>
    <p:sldLayoutId id="2147485325" r:id="rId68"/>
    <p:sldLayoutId id="214748532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738652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69285864"/>
      </p:ext>
    </p:extLst>
  </p:cSld>
  <p:clrMap bg1="lt1" tx1="dk1" bg2="lt2" tx2="dk2" accent1="accent1" accent2="accent2" accent3="accent3" accent4="accent4" accent5="accent5" accent6="accent6" hlink="hlink" folHlink="folHlink"/>
  <p:sldLayoutIdLst>
    <p:sldLayoutId id="2147485328" r:id="rId1"/>
    <p:sldLayoutId id="2147485329" r:id="rId2"/>
    <p:sldLayoutId id="2147485330" r:id="rId3"/>
    <p:sldLayoutId id="2147485331" r:id="rId4"/>
    <p:sldLayoutId id="2147485332" r:id="rId5"/>
    <p:sldLayoutId id="2147485333" r:id="rId6"/>
    <p:sldLayoutId id="2147485334" r:id="rId7"/>
    <p:sldLayoutId id="2147485335" r:id="rId8"/>
    <p:sldLayoutId id="2147485336" r:id="rId9"/>
    <p:sldLayoutId id="2147485337" r:id="rId10"/>
    <p:sldLayoutId id="2147485338" r:id="rId11"/>
    <p:sldLayoutId id="2147485339" r:id="rId12"/>
    <p:sldLayoutId id="2147485340" r:id="rId13"/>
    <p:sldLayoutId id="2147485341" r:id="rId14"/>
    <p:sldLayoutId id="2147485342" r:id="rId15"/>
    <p:sldLayoutId id="2147485343" r:id="rId16"/>
    <p:sldLayoutId id="2147485344" r:id="rId17"/>
    <p:sldLayoutId id="2147485345" r:id="rId18"/>
    <p:sldLayoutId id="2147485346" r:id="rId19"/>
    <p:sldLayoutId id="2147485347" r:id="rId20"/>
    <p:sldLayoutId id="2147485348" r:id="rId21"/>
    <p:sldLayoutId id="2147485349" r:id="rId22"/>
    <p:sldLayoutId id="2147485350" r:id="rId23"/>
    <p:sldLayoutId id="2147485351" r:id="rId24"/>
    <p:sldLayoutId id="2147485352" r:id="rId25"/>
    <p:sldLayoutId id="2147485353" r:id="rId26"/>
    <p:sldLayoutId id="2147485354" r:id="rId27"/>
    <p:sldLayoutId id="2147485355" r:id="rId28"/>
    <p:sldLayoutId id="2147485356" r:id="rId29"/>
    <p:sldLayoutId id="2147485357" r:id="rId30"/>
    <p:sldLayoutId id="2147485358" r:id="rId31"/>
    <p:sldLayoutId id="2147485359" r:id="rId32"/>
    <p:sldLayoutId id="2147485360" r:id="rId33"/>
    <p:sldLayoutId id="2147485361" r:id="rId34"/>
    <p:sldLayoutId id="2147485362" r:id="rId35"/>
    <p:sldLayoutId id="2147485363" r:id="rId36"/>
    <p:sldLayoutId id="2147485364" r:id="rId37"/>
    <p:sldLayoutId id="2147485365" r:id="rId38"/>
    <p:sldLayoutId id="2147485366" r:id="rId39"/>
    <p:sldLayoutId id="2147485367" r:id="rId40"/>
    <p:sldLayoutId id="2147485368" r:id="rId41"/>
    <p:sldLayoutId id="2147485369" r:id="rId42"/>
    <p:sldLayoutId id="2147485370" r:id="rId43"/>
    <p:sldLayoutId id="2147485371" r:id="rId44"/>
    <p:sldLayoutId id="2147485372" r:id="rId45"/>
    <p:sldLayoutId id="2147485373" r:id="rId46"/>
    <p:sldLayoutId id="2147485374" r:id="rId47"/>
    <p:sldLayoutId id="2147485375" r:id="rId48"/>
    <p:sldLayoutId id="2147485376" r:id="rId49"/>
    <p:sldLayoutId id="2147485377" r:id="rId50"/>
    <p:sldLayoutId id="2147485378" r:id="rId51"/>
    <p:sldLayoutId id="2147485379" r:id="rId52"/>
    <p:sldLayoutId id="2147485380" r:id="rId53"/>
    <p:sldLayoutId id="2147485381" r:id="rId54"/>
    <p:sldLayoutId id="2147485382" r:id="rId55"/>
    <p:sldLayoutId id="2147485383" r:id="rId56"/>
    <p:sldLayoutId id="2147485384" r:id="rId57"/>
    <p:sldLayoutId id="2147485385" r:id="rId58"/>
    <p:sldLayoutId id="2147485386" r:id="rId59"/>
    <p:sldLayoutId id="2147485387" r:id="rId60"/>
    <p:sldLayoutId id="2147485388" r:id="rId61"/>
    <p:sldLayoutId id="2147485389" r:id="rId62"/>
    <p:sldLayoutId id="2147485390" r:id="rId63"/>
    <p:sldLayoutId id="2147485391" r:id="rId64"/>
    <p:sldLayoutId id="2147485392" r:id="rId65"/>
    <p:sldLayoutId id="2147485393" r:id="rId66"/>
    <p:sldLayoutId id="2147485394" r:id="rId67"/>
    <p:sldLayoutId id="2147485395" r:id="rId68"/>
    <p:sldLayoutId id="214748539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1.xml"/><Relationship Id="rId1" Type="http://schemas.openxmlformats.org/officeDocument/2006/relationships/tags" Target="../tags/tag121.xml"/><Relationship Id="rId5" Type="http://schemas.openxmlformats.org/officeDocument/2006/relationships/image" Target="../media/image13.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1.xml"/><Relationship Id="rId1" Type="http://schemas.openxmlformats.org/officeDocument/2006/relationships/tags" Target="../tags/tag122.xml"/><Relationship Id="rId5" Type="http://schemas.openxmlformats.org/officeDocument/2006/relationships/image" Target="../media/image13.emf"/><Relationship Id="rId4" Type="http://schemas.openxmlformats.org/officeDocument/2006/relationships/oleObject" Target="../embeddings/oleObject2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1.xml"/><Relationship Id="rId1" Type="http://schemas.openxmlformats.org/officeDocument/2006/relationships/tags" Target="../tags/tag123.xml"/><Relationship Id="rId5" Type="http://schemas.openxmlformats.org/officeDocument/2006/relationships/image" Target="../media/image13.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1"/>
            </p:custDataLst>
            <p:extLst>
              <p:ext uri="{D42A27DB-BD31-4B8C-83A1-F6EECF244321}">
                <p14:modId xmlns:p14="http://schemas.microsoft.com/office/powerpoint/2010/main" val="142235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30000" y="622800"/>
            <a:ext cx="10933350" cy="332399"/>
          </a:xfrm>
        </p:spPr>
        <p:txBody>
          <a:bodyPr vert="horz"/>
          <a:lstStyle/>
          <a:p>
            <a:r>
              <a:rPr lang="en-GB" dirty="0"/>
              <a:t>Most of Fast Cars' Scope 3 Emissions are downstream emissions, primarily from the use of sold products. This is the same across the whole automotive industry.</a:t>
            </a:r>
            <a:br>
              <a:rPr lang="en-GB" dirty="0"/>
            </a:br>
            <a:br>
              <a:rPr lang="en-GB" dirty="0"/>
            </a:br>
            <a:endParaRPr lang="en-US" dirty="0"/>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graphicFrame>
        <p:nvGraphicFramePr>
          <p:cNvPr id="7" name="Table 6">
            <a:extLst>
              <a:ext uri="{FF2B5EF4-FFF2-40B4-BE49-F238E27FC236}">
                <a16:creationId xmlns:a16="http://schemas.microsoft.com/office/drawing/2014/main" id="{6CF47180-DE56-654C-82AB-1F9CAE0F7A67}"/>
              </a:ext>
            </a:extLst>
          </p:cNvPr>
          <p:cNvGraphicFramePr>
            <a:graphicFrameLocks noGrp="1"/>
          </p:cNvGraphicFramePr>
          <p:nvPr>
            <p:extLst>
              <p:ext uri="{D42A27DB-BD31-4B8C-83A1-F6EECF244321}">
                <p14:modId xmlns:p14="http://schemas.microsoft.com/office/powerpoint/2010/main" val="2129821704"/>
              </p:ext>
            </p:extLst>
          </p:nvPr>
        </p:nvGraphicFramePr>
        <p:xfrm>
          <a:off x="616226" y="1646959"/>
          <a:ext cx="10307147" cy="4919711"/>
        </p:xfrm>
        <a:graphic>
          <a:graphicData uri="http://schemas.openxmlformats.org/drawingml/2006/table">
            <a:tbl>
              <a:tblPr>
                <a:tableStyleId>{BC89EF96-8CEA-46FF-86C4-4CE0E7609802}</a:tableStyleId>
              </a:tblPr>
              <a:tblGrid>
                <a:gridCol w="2587116">
                  <a:extLst>
                    <a:ext uri="{9D8B030D-6E8A-4147-A177-3AD203B41FA5}">
                      <a16:colId xmlns:a16="http://schemas.microsoft.com/office/drawing/2014/main" val="2845382286"/>
                    </a:ext>
                  </a:extLst>
                </a:gridCol>
                <a:gridCol w="2573344">
                  <a:extLst>
                    <a:ext uri="{9D8B030D-6E8A-4147-A177-3AD203B41FA5}">
                      <a16:colId xmlns:a16="http://schemas.microsoft.com/office/drawing/2014/main" val="720676032"/>
                    </a:ext>
                  </a:extLst>
                </a:gridCol>
                <a:gridCol w="2721806">
                  <a:extLst>
                    <a:ext uri="{9D8B030D-6E8A-4147-A177-3AD203B41FA5}">
                      <a16:colId xmlns:a16="http://schemas.microsoft.com/office/drawing/2014/main" val="72779959"/>
                    </a:ext>
                  </a:extLst>
                </a:gridCol>
                <a:gridCol w="2424881">
                  <a:extLst>
                    <a:ext uri="{9D8B030D-6E8A-4147-A177-3AD203B41FA5}">
                      <a16:colId xmlns:a16="http://schemas.microsoft.com/office/drawing/2014/main" val="1413901804"/>
                    </a:ext>
                  </a:extLst>
                </a:gridCol>
              </a:tblGrid>
              <a:tr h="385054">
                <a:tc>
                  <a:txBody>
                    <a:bodyPr/>
                    <a:lstStyle/>
                    <a:p>
                      <a:pPr algn="ctr" rtl="0" fontAlgn="t">
                        <a:spcBef>
                          <a:spcPts val="0"/>
                        </a:spcBef>
                        <a:spcAft>
                          <a:spcPts val="0"/>
                        </a:spcAft>
                      </a:pPr>
                      <a:r>
                        <a:rPr lang="en-AU" sz="1600" b="1" u="none" strike="noStrike" dirty="0">
                          <a:solidFill>
                            <a:srgbClr val="000000"/>
                          </a:solidFill>
                          <a:effectLst/>
                        </a:rPr>
                        <a:t>Upstream Emissions</a:t>
                      </a:r>
                      <a:endParaRPr lang="en-AU" sz="1600"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600" b="1" u="none" strike="noStrike" dirty="0">
                          <a:solidFill>
                            <a:srgbClr val="000000"/>
                          </a:solidFill>
                          <a:effectLst/>
                        </a:rPr>
                        <a:t>kt CO2 </a:t>
                      </a:r>
                      <a:endParaRPr lang="en-AU" sz="1600"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600" b="1" u="none" strike="noStrike" dirty="0">
                          <a:solidFill>
                            <a:srgbClr val="000000"/>
                          </a:solidFill>
                          <a:effectLst/>
                        </a:rPr>
                        <a:t>Downstream Emissions</a:t>
                      </a:r>
                      <a:endParaRPr lang="en-AU" sz="1600"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600" b="1" u="none" strike="noStrike" dirty="0">
                          <a:solidFill>
                            <a:srgbClr val="000000"/>
                          </a:solidFill>
                          <a:effectLst/>
                        </a:rPr>
                        <a:t>kt CO2 </a:t>
                      </a:r>
                      <a:endParaRPr lang="en-AU" sz="1600" b="1" dirty="0">
                        <a:effectLst/>
                      </a:endParaRPr>
                    </a:p>
                  </a:txBody>
                  <a:tcPr marL="63500" marR="63500" marT="63500" marB="63500">
                    <a:solidFill>
                      <a:schemeClr val="tx2">
                        <a:lumMod val="20000"/>
                        <a:lumOff val="80000"/>
                      </a:schemeClr>
                    </a:solidFill>
                  </a:tcPr>
                </a:tc>
                <a:extLst>
                  <a:ext uri="{0D108BD9-81ED-4DB2-BD59-A6C34878D82A}">
                    <a16:rowId xmlns:a16="http://schemas.microsoft.com/office/drawing/2014/main" val="3973932371"/>
                  </a:ext>
                </a:extLst>
              </a:tr>
              <a:tr h="385054">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Purchased goods and service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marL="37465">
                        <a:lnSpc>
                          <a:spcPct val="107000"/>
                        </a:lnSpc>
                        <a:spcAft>
                          <a:spcPts val="800"/>
                        </a:spcAft>
                      </a:pPr>
                      <a:r>
                        <a:rPr lang="en-IN" sz="1600" kern="1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10,000</a:t>
                      </a:r>
                    </a:p>
                  </a:txBody>
                  <a:tcPr marL="0" marR="69850" marT="48895" marB="0"/>
                </a:tc>
                <a:tc>
                  <a:txBody>
                    <a:bodyPr/>
                    <a:lstStyle/>
                    <a:p>
                      <a:pPr>
                        <a:lnSpc>
                          <a:spcPct val="107000"/>
                        </a:lnSpc>
                        <a:spcAft>
                          <a:spcPts val="800"/>
                        </a:spcAft>
                      </a:pPr>
                      <a:r>
                        <a:rPr lang="en-IN" sz="1600" kern="1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  </a:t>
                      </a: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Use of Sold Products</a:t>
                      </a:r>
                      <a:r>
                        <a:rPr lang="en-IN" sz="1600" kern="1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 </a:t>
                      </a:r>
                    </a:p>
                  </a:txBody>
                  <a:tcPr marL="0" marR="69850" marT="48895" marB="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120,500</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val="721871659"/>
                  </a:ext>
                </a:extLst>
              </a:tr>
              <a:tr h="638240">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Capital Good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1030</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Downstream Transportation and Distribution</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706</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val="1637283700"/>
                  </a:ext>
                </a:extLst>
              </a:tr>
              <a:tr h="638240">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Upstream Transportation and Distribution</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624</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End-of-Life Treatment of Sold Product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167</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val="4161037970"/>
                  </a:ext>
                </a:extLst>
              </a:tr>
              <a:tr h="638240">
                <a:tc>
                  <a:txBody>
                    <a:bodyPr/>
                    <a:lstStyle/>
                    <a:p>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Fuel and Energy Related</a:t>
                      </a:r>
                    </a:p>
                    <a:p>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Activitie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208</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Processing of Sold Product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10</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val="3214810525"/>
                  </a:ext>
                </a:extLst>
              </a:tr>
              <a:tr h="477178">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Employee Commuting</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200</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Downstream Leased Asset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0</a:t>
                      </a:r>
                    </a:p>
                  </a:txBody>
                  <a:tcPr marL="63500" marR="63500" marT="63500" marB="63500"/>
                </a:tc>
                <a:extLst>
                  <a:ext uri="{0D108BD9-81ED-4DB2-BD59-A6C34878D82A}">
                    <a16:rowId xmlns:a16="http://schemas.microsoft.com/office/drawing/2014/main" val="101063659"/>
                  </a:ext>
                </a:extLst>
              </a:tr>
              <a:tr h="477178">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Business Travel</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121</a:t>
                      </a: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Franchise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0</a:t>
                      </a:r>
                    </a:p>
                  </a:txBody>
                  <a:tcPr marL="63500" marR="63500" marT="63500" marB="63500"/>
                </a:tc>
                <a:extLst>
                  <a:ext uri="{0D108BD9-81ED-4DB2-BD59-A6C34878D82A}">
                    <a16:rowId xmlns:a16="http://schemas.microsoft.com/office/drawing/2014/main" val="4199350494"/>
                  </a:ext>
                </a:extLst>
              </a:tr>
              <a:tr h="803349">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Waste Generated in Operation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78</a:t>
                      </a:r>
                    </a:p>
                  </a:txBody>
                  <a:tcPr marL="63500" marR="63500" marT="63500" marB="63500"/>
                </a:tc>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Investment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0</a:t>
                      </a:r>
                    </a:p>
                  </a:txBody>
                  <a:tcPr marL="63500" marR="63500" marT="63500" marB="63500"/>
                </a:tc>
                <a:extLst>
                  <a:ext uri="{0D108BD9-81ED-4DB2-BD59-A6C34878D82A}">
                    <a16:rowId xmlns:a16="http://schemas.microsoft.com/office/drawing/2014/main" val="3383688510"/>
                  </a:ext>
                </a:extLst>
              </a:tr>
              <a:tr h="477178">
                <a:tc>
                  <a:txBody>
                    <a:bodyPr/>
                    <a:lstStyle/>
                    <a:p>
                      <a:pP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Upstream Leased Asset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rtl="0" fontAlgn="t">
                        <a:spcBef>
                          <a:spcPts val="0"/>
                        </a:spcBef>
                        <a:spcAft>
                          <a:spcPts val="0"/>
                        </a:spcAft>
                      </a:pPr>
                      <a:r>
                        <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0</a:t>
                      </a:r>
                    </a:p>
                  </a:txBody>
                  <a:tcPr marL="63500" marR="63500" marT="63500" marB="63500"/>
                </a:tc>
                <a:tc>
                  <a:txBody>
                    <a:bodyPr/>
                    <a:lstStyle/>
                    <a:p>
                      <a:pPr fontAlgn="t"/>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fontAlgn="t"/>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val="2984855747"/>
                  </a:ext>
                </a:extLst>
              </a:tr>
            </a:tbl>
          </a:graphicData>
        </a:graphic>
      </p:graphicFrame>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0" name="Rectangle 9">
            <a:extLst>
              <a:ext uri="{FF2B5EF4-FFF2-40B4-BE49-F238E27FC236}">
                <a16:creationId xmlns:a16="http://schemas.microsoft.com/office/drawing/2014/main" id="{2741EF22-907B-0042-9867-8BB375F9FFC7}"/>
              </a:ext>
            </a:extLst>
          </p:cNvPr>
          <p:cNvSpPr/>
          <p:nvPr/>
        </p:nvSpPr>
        <p:spPr>
          <a:xfrm>
            <a:off x="10923373" y="1312684"/>
            <a:ext cx="824946" cy="29978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Tree>
    <p:extLst>
      <p:ext uri="{BB962C8B-B14F-4D97-AF65-F5344CB8AC3E}">
        <p14:creationId xmlns:p14="http://schemas.microsoft.com/office/powerpoint/2010/main" val="3372257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FBDFD83D-CDF3-49DA-82C8-A1BAAA4881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Competitor Analysis </a:t>
            </a: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0" name="Rectangle 9">
            <a:extLst>
              <a:ext uri="{FF2B5EF4-FFF2-40B4-BE49-F238E27FC236}">
                <a16:creationId xmlns:a16="http://schemas.microsoft.com/office/drawing/2014/main" id="{2741EF22-907B-0042-9867-8BB375F9FFC7}"/>
              </a:ext>
            </a:extLst>
          </p:cNvPr>
          <p:cNvSpPr/>
          <p:nvPr/>
        </p:nvSpPr>
        <p:spPr>
          <a:xfrm>
            <a:off x="629998" y="1438999"/>
            <a:ext cx="3673645" cy="4673566"/>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Subject: Analysis of Scope 3 Emissions Targets Among Fast Cars Competitors</a:t>
            </a:r>
          </a:p>
          <a:p>
            <a:pPr algn="ctr"/>
            <a:endParaRPr lang="en-GB"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endParaRPr>
          </a:p>
          <a:p>
            <a:pPr algn="ctr"/>
            <a:r>
              <a:rPr lang="en-GB"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This research analyses the Scope 3 emissions targets established by a selection of Fast Cars' competitors.  The majority of these targets focus solely on emissions from the "use of products sold" (downstream) category, as this typically represents the largest portion of automotive companies' total Scope 3 emissions.  However, our analysis reveals that, among the companies sampled, only BMW Group is also addressing upstream emissions.</a:t>
            </a:r>
          </a:p>
          <a:p>
            <a:pPr algn="ctr"/>
            <a:endParaRPr lang="en-US" sz="16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Table 3">
            <a:extLst>
              <a:ext uri="{FF2B5EF4-FFF2-40B4-BE49-F238E27FC236}">
                <a16:creationId xmlns:a16="http://schemas.microsoft.com/office/drawing/2014/main" id="{F89654B2-B4FD-9948-98DF-9CF26C138652}"/>
              </a:ext>
            </a:extLst>
          </p:cNvPr>
          <p:cNvGraphicFramePr>
            <a:graphicFrameLocks noGrp="1"/>
          </p:cNvGraphicFramePr>
          <p:nvPr>
            <p:extLst>
              <p:ext uri="{D42A27DB-BD31-4B8C-83A1-F6EECF244321}">
                <p14:modId xmlns:p14="http://schemas.microsoft.com/office/powerpoint/2010/main" val="2319409540"/>
              </p:ext>
            </p:extLst>
          </p:nvPr>
        </p:nvGraphicFramePr>
        <p:xfrm>
          <a:off x="4721088" y="913398"/>
          <a:ext cx="6500190" cy="5316068"/>
        </p:xfrm>
        <a:graphic>
          <a:graphicData uri="http://schemas.openxmlformats.org/drawingml/2006/table">
            <a:tbl>
              <a:tblPr>
                <a:tableStyleId>{BC89EF96-8CEA-46FF-86C4-4CE0E7609802}</a:tableStyleId>
              </a:tblPr>
              <a:tblGrid>
                <a:gridCol w="1682477">
                  <a:extLst>
                    <a:ext uri="{9D8B030D-6E8A-4147-A177-3AD203B41FA5}">
                      <a16:colId xmlns:a16="http://schemas.microsoft.com/office/drawing/2014/main" val="3903068695"/>
                    </a:ext>
                  </a:extLst>
                </a:gridCol>
                <a:gridCol w="4817713">
                  <a:extLst>
                    <a:ext uri="{9D8B030D-6E8A-4147-A177-3AD203B41FA5}">
                      <a16:colId xmlns:a16="http://schemas.microsoft.com/office/drawing/2014/main" val="533881165"/>
                    </a:ext>
                  </a:extLst>
                </a:gridCol>
              </a:tblGrid>
              <a:tr h="447944">
                <a:tc>
                  <a:txBody>
                    <a:bodyPr/>
                    <a:lstStyle/>
                    <a:p>
                      <a:pPr algn="ctr" rtl="0" fontAlgn="t">
                        <a:spcBef>
                          <a:spcPts val="0"/>
                        </a:spcBef>
                        <a:spcAft>
                          <a:spcPts val="0"/>
                        </a:spcAft>
                      </a:pPr>
                      <a:r>
                        <a:rPr lang="en-AU" sz="1600" b="1"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ompany</a:t>
                      </a:r>
                      <a:endParaRPr lang="en-AU"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solidFill>
                      <a:schemeClr val="tx2">
                        <a:lumMod val="20000"/>
                        <a:lumOff val="80000"/>
                      </a:schemeClr>
                    </a:solidFill>
                  </a:tcPr>
                </a:tc>
                <a:tc>
                  <a:txBody>
                    <a:bodyPr/>
                    <a:lstStyle/>
                    <a:p>
                      <a:pPr algn="ctr" rtl="0" fontAlgn="t">
                        <a:spcBef>
                          <a:spcPts val="0"/>
                        </a:spcBef>
                        <a:spcAft>
                          <a:spcPts val="0"/>
                        </a:spcAft>
                      </a:pPr>
                      <a:r>
                        <a:rPr lang="en-AU" sz="1600" b="1"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cope 3 Emissions Reduction Target and actions</a:t>
                      </a:r>
                      <a:endParaRPr lang="en-AU"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solidFill>
                      <a:schemeClr val="tx2">
                        <a:lumMod val="20000"/>
                        <a:lumOff val="80000"/>
                      </a:schemeClr>
                    </a:solidFill>
                  </a:tcPr>
                </a:tc>
                <a:extLst>
                  <a:ext uri="{0D108BD9-81ED-4DB2-BD59-A6C34878D82A}">
                    <a16:rowId xmlns:a16="http://schemas.microsoft.com/office/drawing/2014/main" val="2259417394"/>
                  </a:ext>
                </a:extLst>
              </a:tr>
              <a:tr h="926836">
                <a:tc>
                  <a:txBody>
                    <a:bodyPr/>
                    <a:lstStyle/>
                    <a:p>
                      <a:pPr algn="ct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General Motor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ct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Reduce scope 3 GHG emissions from use of sold products of light duty vehicles per vehicle kilometre by 2035 from a 2018 base year</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val="652408694"/>
                  </a:ext>
                </a:extLst>
              </a:tr>
              <a:tr h="926836">
                <a:tc>
                  <a:txBody>
                    <a:bodyPr/>
                    <a:lstStyle/>
                    <a:p>
                      <a:pPr algn="ct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Ford Motor Company</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ct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Reduce scope 3 use Of sold products GHG emissions 50% per vehicle kilometre by 2035 from a 2019 base year</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val="1751632822"/>
                  </a:ext>
                </a:extLst>
              </a:tr>
              <a:tr h="1008372">
                <a:tc>
                  <a:txBody>
                    <a:bodyPr/>
                    <a:lstStyle/>
                    <a:p>
                      <a:pPr algn="ct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BMW Group</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marL="8255" algn="ctr">
                        <a:lnSpc>
                          <a:spcPct val="90000"/>
                        </a:lnSpc>
                        <a:spcAft>
                          <a:spcPts val="510"/>
                        </a:spcAft>
                      </a:pPr>
                      <a:r>
                        <a:rPr lang="en-IN" sz="1600" kern="1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Reduce scope 3 GHG emissions from use of sold products 40% per vehicle kilometre by 2030 from a 2019 base year.</a:t>
                      </a:r>
                    </a:p>
                    <a:p>
                      <a:pPr marL="8255" algn="ctr">
                        <a:lnSpc>
                          <a:spcPct val="90000"/>
                        </a:lnSpc>
                        <a:spcAft>
                          <a:spcPts val="51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Reduce scope 3 GHG emissions from purchased goods services and upstream transportation a distribution services per vehicle sold by 2030 from a 2019 base year.</a:t>
                      </a:r>
                      <a:endParaRPr lang="en-IN" sz="1600" kern="1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0" marR="0" marT="0" marB="0"/>
                </a:tc>
                <a:extLst>
                  <a:ext uri="{0D108BD9-81ED-4DB2-BD59-A6C34878D82A}">
                    <a16:rowId xmlns:a16="http://schemas.microsoft.com/office/drawing/2014/main" val="2970918052"/>
                  </a:ext>
                </a:extLst>
              </a:tr>
              <a:tr h="926836">
                <a:tc>
                  <a:txBody>
                    <a:bodyPr/>
                    <a:lstStyle/>
                    <a:p>
                      <a:pPr algn="ct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Volvo Car Group</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ctr" rtl="0" fontAlgn="t">
                        <a:spcBef>
                          <a:spcPts val="0"/>
                        </a:spcBef>
                        <a:spcAft>
                          <a:spcPts val="0"/>
                        </a:spcAft>
                      </a:pP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Reduce scope 3 GHG emissions from use of sold products 52% per vehicle kilometre by 2030 from a 2019 base year</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val="3541303408"/>
                  </a:ext>
                </a:extLst>
              </a:tr>
              <a:tr h="926836">
                <a:tc>
                  <a:txBody>
                    <a:bodyPr/>
                    <a:lstStyle/>
                    <a:p>
                      <a:pPr algn="ctr" rtl="0" fontAlgn="t">
                        <a:spcBef>
                          <a:spcPts val="0"/>
                        </a:spcBef>
                        <a:spcAft>
                          <a:spcPts val="0"/>
                        </a:spcAft>
                      </a:pPr>
                      <a:r>
                        <a:rPr lang="en-IN" sz="16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issan Motor Co., Ltd.</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marL="8255" algn="ctr">
                        <a:lnSpc>
                          <a:spcPct val="107000"/>
                        </a:lnSpc>
                        <a:spcAft>
                          <a:spcPts val="800"/>
                        </a:spcAft>
                      </a:pPr>
                      <a:r>
                        <a:rPr lang="en-IN" sz="1600" kern="1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Reduce scope 3 GHG emissions from use of sold products </a:t>
                      </a:r>
                      <a:r>
                        <a:rPr lang="en-IN" sz="160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32.5% per vehicle kilometre over the same time frame</a:t>
                      </a:r>
                      <a:endParaRPr lang="en-IN" sz="1600" kern="1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0" marR="0" marT="0" marB="0"/>
                </a:tc>
                <a:extLst>
                  <a:ext uri="{0D108BD9-81ED-4DB2-BD59-A6C34878D82A}">
                    <a16:rowId xmlns:a16="http://schemas.microsoft.com/office/drawing/2014/main" val="1329805269"/>
                  </a:ext>
                </a:extLst>
              </a:tr>
            </a:tbl>
          </a:graphicData>
        </a:graphic>
      </p:graphicFrame>
    </p:spTree>
    <p:extLst>
      <p:ext uri="{BB962C8B-B14F-4D97-AF65-F5344CB8AC3E}">
        <p14:creationId xmlns:p14="http://schemas.microsoft.com/office/powerpoint/2010/main" val="1680592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FBDFD83D-CDF3-49DA-82C8-A1BAAA4881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Key initiatives for Fast Cars to consider</a:t>
            </a: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0" name="Rectangle 9">
            <a:extLst>
              <a:ext uri="{FF2B5EF4-FFF2-40B4-BE49-F238E27FC236}">
                <a16:creationId xmlns:a16="http://schemas.microsoft.com/office/drawing/2014/main" id="{2741EF22-907B-0042-9867-8BB375F9FFC7}"/>
              </a:ext>
            </a:extLst>
          </p:cNvPr>
          <p:cNvSpPr/>
          <p:nvPr/>
        </p:nvSpPr>
        <p:spPr>
          <a:xfrm>
            <a:off x="629997" y="983975"/>
            <a:ext cx="10933350" cy="1028975"/>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b="0" i="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To align Fast Cars with industry best practices, we recommend establishing a target for addressing Scope 3 emissions associated with the use of your products. This document outlines some potential initial initiatives to achieve this goal. </a:t>
            </a:r>
            <a:endParaRPr lang="en-US"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Table 7">
            <a:extLst>
              <a:ext uri="{FF2B5EF4-FFF2-40B4-BE49-F238E27FC236}">
                <a16:creationId xmlns:a16="http://schemas.microsoft.com/office/drawing/2014/main" id="{8DA3B135-2A1E-054B-9081-5AB3A91697E4}"/>
              </a:ext>
            </a:extLst>
          </p:cNvPr>
          <p:cNvGraphicFramePr>
            <a:graphicFrameLocks noGrp="1"/>
          </p:cNvGraphicFramePr>
          <p:nvPr>
            <p:extLst>
              <p:ext uri="{D42A27DB-BD31-4B8C-83A1-F6EECF244321}">
                <p14:modId xmlns:p14="http://schemas.microsoft.com/office/powerpoint/2010/main" val="2713366196"/>
              </p:ext>
            </p:extLst>
          </p:nvPr>
        </p:nvGraphicFramePr>
        <p:xfrm>
          <a:off x="629997" y="2236305"/>
          <a:ext cx="10933350" cy="3985592"/>
        </p:xfrm>
        <a:graphic>
          <a:graphicData uri="http://schemas.openxmlformats.org/drawingml/2006/table">
            <a:tbl>
              <a:tblPr>
                <a:tableStyleId>{BC89EF96-8CEA-46FF-86C4-4CE0E7609802}</a:tableStyleId>
              </a:tblPr>
              <a:tblGrid>
                <a:gridCol w="2349587">
                  <a:extLst>
                    <a:ext uri="{9D8B030D-6E8A-4147-A177-3AD203B41FA5}">
                      <a16:colId xmlns:a16="http://schemas.microsoft.com/office/drawing/2014/main" val="2845382286"/>
                    </a:ext>
                  </a:extLst>
                </a:gridCol>
                <a:gridCol w="3117088">
                  <a:extLst>
                    <a:ext uri="{9D8B030D-6E8A-4147-A177-3AD203B41FA5}">
                      <a16:colId xmlns:a16="http://schemas.microsoft.com/office/drawing/2014/main" val="720676032"/>
                    </a:ext>
                  </a:extLst>
                </a:gridCol>
                <a:gridCol w="2891030">
                  <a:extLst>
                    <a:ext uri="{9D8B030D-6E8A-4147-A177-3AD203B41FA5}">
                      <a16:colId xmlns:a16="http://schemas.microsoft.com/office/drawing/2014/main" val="72779959"/>
                    </a:ext>
                  </a:extLst>
                </a:gridCol>
                <a:gridCol w="2575645">
                  <a:extLst>
                    <a:ext uri="{9D8B030D-6E8A-4147-A177-3AD203B41FA5}">
                      <a16:colId xmlns:a16="http://schemas.microsoft.com/office/drawing/2014/main" val="1413901804"/>
                    </a:ext>
                  </a:extLst>
                </a:gridCol>
              </a:tblGrid>
              <a:tr h="761766">
                <a:tc>
                  <a:txBody>
                    <a:bodyPr/>
                    <a:lstStyle/>
                    <a:p>
                      <a:pPr marL="0" algn="ctr" defTabSz="914400" rtl="0" eaLnBrk="1" fontAlgn="t" latinLnBrk="0" hangingPunct="1">
                        <a:spcBef>
                          <a:spcPts val="0"/>
                        </a:spcBef>
                        <a:spcAft>
                          <a:spcPts val="0"/>
                        </a:spcAft>
                      </a:pPr>
                      <a:r>
                        <a:rPr lang="en-AU" sz="1600" b="1" u="none" strike="noStrike"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itiative</a:t>
                      </a:r>
                    </a:p>
                  </a:txBody>
                  <a:tcPr marL="63500" marR="63500" marT="63500" marB="63500" anchor="ctr">
                    <a:solidFill>
                      <a:schemeClr val="tx2">
                        <a:lumMod val="20000"/>
                        <a:lumOff val="80000"/>
                      </a:schemeClr>
                    </a:solidFill>
                  </a:tcPr>
                </a:tc>
                <a:tc>
                  <a:txBody>
                    <a:bodyPr/>
                    <a:lstStyle/>
                    <a:p>
                      <a:pPr algn="ctr" rtl="0" fontAlgn="t">
                        <a:spcBef>
                          <a:spcPts val="0"/>
                        </a:spcBef>
                        <a:spcAft>
                          <a:spcPts val="0"/>
                        </a:spcAft>
                      </a:pPr>
                      <a:r>
                        <a:rPr lang="en-AU" sz="1600" b="1" u="none" strike="noStrike"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itiative 1: [</a:t>
                      </a:r>
                      <a:r>
                        <a:rPr lang="en-GB" sz="1600" b="1" i="0" kern="1200" dirty="0">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Reporting of Actual Air Emission Data</a:t>
                      </a:r>
                      <a:r>
                        <a:rPr lang="en-AU" sz="1600" b="1" u="none" strike="noStrike"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600" b="1" u="none" strike="noStrike" kern="12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itiative 2: [light motor vehicles]</a:t>
                      </a: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600" b="1" u="none" strike="noStrike" kern="1200" noProof="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itiative 3: [Electric or Hybrid Vehicles]</a:t>
                      </a:r>
                    </a:p>
                  </a:txBody>
                  <a:tcPr marL="63500" marR="63500" marT="63500" marB="63500" anchor="ctr">
                    <a:solidFill>
                      <a:schemeClr val="tx2">
                        <a:lumMod val="20000"/>
                        <a:lumOff val="80000"/>
                      </a:schemeClr>
                    </a:solidFill>
                  </a:tcPr>
                </a:tc>
                <a:extLst>
                  <a:ext uri="{0D108BD9-81ED-4DB2-BD59-A6C34878D82A}">
                    <a16:rowId xmlns:a16="http://schemas.microsoft.com/office/drawing/2014/main" val="3973932371"/>
                  </a:ext>
                </a:extLst>
              </a:tr>
              <a:tr h="3223826">
                <a:tc>
                  <a:txBody>
                    <a:bodyPr/>
                    <a:lstStyle/>
                    <a:p>
                      <a:pPr marL="0" algn="ctr" defTabSz="914400" rtl="0" eaLnBrk="1" fontAlgn="t" latinLnBrk="0" hangingPunct="1">
                        <a:spcBef>
                          <a:spcPts val="0"/>
                        </a:spcBef>
                        <a:spcAft>
                          <a:spcPts val="0"/>
                        </a:spcAft>
                      </a:pPr>
                      <a:r>
                        <a:rPr lang="en-AU" sz="1600" b="1" u="none" strike="noStrike"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tail approach</a:t>
                      </a: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GB" sz="1600" b="0" i="0" kern="12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Incorporating air emissions monitors into vehicles that integrate with the car's information systems can provide valuable feedback to customers regarding maintenance or upgrades. These monitors will alert the driver when the vehicle is due for servicing or enhancements based on its emissions performance.</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ctr" rtl="0" fontAlgn="t">
                        <a:spcBef>
                          <a:spcPts val="0"/>
                        </a:spcBef>
                        <a:spcAft>
                          <a:spcPts val="0"/>
                        </a:spcAft>
                      </a:pPr>
                      <a:r>
                        <a:rPr lang="en-GB"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The relationship between vehicle weight and fuel consumption is significant; heavier vehicles tend to consume more fuel. By focusing on the investment in advanced materials and ongoing material research and development, Fast Cars has the opportunity to create lighter vehicles that enhance fuel efficiency per kilometre.</a:t>
                      </a:r>
                      <a:endParaRPr lang="en-AU" dirty="0">
                        <a:effectLst/>
                      </a:endParaRPr>
                    </a:p>
                  </a:txBody>
                  <a:tcPr marL="63500" marR="63500" marT="63500" marB="63500"/>
                </a:tc>
                <a:tc>
                  <a:txBody>
                    <a:bodyPr/>
                    <a:lstStyle/>
                    <a:p>
                      <a:pPr algn="ctr" rtl="0" fontAlgn="t">
                        <a:spcBef>
                          <a:spcPts val="0"/>
                        </a:spcBef>
                        <a:spcAft>
                          <a:spcPts val="0"/>
                        </a:spcAft>
                      </a:pPr>
                      <a:r>
                        <a:rPr lang="en-GB"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This initiative stands to significantly decrease the consumption of sold products, especially when vehicles are charged using renewable energy, leading to zero emissions.</a:t>
                      </a:r>
                      <a:endParaRPr lang="en-AU" sz="16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a16="http://schemas.microsoft.com/office/drawing/2014/main" val="721871659"/>
                  </a:ext>
                </a:extLst>
              </a:tr>
            </a:tbl>
          </a:graphicData>
        </a:graphic>
      </p:graphicFrame>
    </p:spTree>
    <p:extLst>
      <p:ext uri="{BB962C8B-B14F-4D97-AF65-F5344CB8AC3E}">
        <p14:creationId xmlns:p14="http://schemas.microsoft.com/office/powerpoint/2010/main" val="832896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64</TotalTime>
  <Words>568</Words>
  <Application>Microsoft Office PowerPoint</Application>
  <PresentationFormat>Widescreen</PresentationFormat>
  <Paragraphs>69</Paragraphs>
  <Slides>3</Slides>
  <Notes>3</Notes>
  <HiddenSlides>0</HiddenSlides>
  <MMClips>0</MMClips>
  <ScaleCrop>false</ScaleCrop>
  <HeadingPairs>
    <vt:vector size="10"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3</vt:i4>
      </vt:variant>
      <vt:variant>
        <vt:lpstr>Custom Shows</vt:lpstr>
      </vt:variant>
      <vt:variant>
        <vt:i4>1</vt:i4>
      </vt:variant>
    </vt:vector>
  </HeadingPairs>
  <TitlesOfParts>
    <vt:vector size="13" baseType="lpstr">
      <vt:lpstr>Arial</vt:lpstr>
      <vt:lpstr>Calibri</vt:lpstr>
      <vt:lpstr>Tahoma</vt:lpstr>
      <vt:lpstr>Trebuchet MS</vt:lpstr>
      <vt:lpstr>BCG Grid 16:9</vt:lpstr>
      <vt:lpstr>1_BCG Grid 16:9</vt:lpstr>
      <vt:lpstr>2_BCG Grid 16:9</vt:lpstr>
      <vt:lpstr>3_BCG Grid 16:9</vt:lpstr>
      <vt:lpstr>think-cell Slide</vt:lpstr>
      <vt:lpstr>Most of Fast Cars' Scope 3 Emissions are downstream emissions, primarily from the use of sold products. This is the same across the whole automotive industry.  </vt:lpstr>
      <vt:lpstr>Competitor Analysis </vt:lpstr>
      <vt:lpstr>Key initiatives for Fast Cars to consider</vt:lpstr>
      <vt:lpstr>Format Guide Workshop</vt:lpstr>
    </vt:vector>
  </TitlesOfParts>
  <Manager/>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Dangeti Satish</cp:lastModifiedBy>
  <cp:revision>681</cp:revision>
  <cp:lastPrinted>1999-12-31T18:30:00Z</cp:lastPrinted>
  <dcterms:created xsi:type="dcterms:W3CDTF">2021-08-26T07:32:41Z</dcterms:created>
  <dcterms:modified xsi:type="dcterms:W3CDTF">2025-01-27T16:14:5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8-30T10:02:4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2ba9f71-cee2-47f7-93eb-53d0f7779567</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